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93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8</c:f>
              <c:numCache>
                <c:formatCode>m/d/yyyy</c:formatCode>
                <c:ptCount val="27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</c:numCache>
            </c:numRef>
          </c:cat>
          <c:val>
            <c:numRef>
              <c:f>Sheet1!$D$2:$D$278</c:f>
              <c:numCache>
                <c:formatCode>#,##0</c:formatCode>
                <c:ptCount val="277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0</c:v>
                </c:pt>
                <c:pt idx="152">
                  <c:v>527</c:v>
                </c:pt>
                <c:pt idx="153">
                  <c:v>545</c:v>
                </c:pt>
                <c:pt idx="154">
                  <c:v>529</c:v>
                </c:pt>
                <c:pt idx="155">
                  <c:v>528</c:v>
                </c:pt>
                <c:pt idx="156">
                  <c:v>545</c:v>
                </c:pt>
                <c:pt idx="157">
                  <c:v>539</c:v>
                </c:pt>
                <c:pt idx="158">
                  <c:v>527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5</c:v>
                </c:pt>
                <c:pt idx="193">
                  <c:v>909</c:v>
                </c:pt>
                <c:pt idx="194">
                  <c:v>935</c:v>
                </c:pt>
                <c:pt idx="195">
                  <c:v>940</c:v>
                </c:pt>
                <c:pt idx="196">
                  <c:v>926</c:v>
                </c:pt>
                <c:pt idx="197">
                  <c:v>924</c:v>
                </c:pt>
                <c:pt idx="198">
                  <c:v>950</c:v>
                </c:pt>
                <c:pt idx="199">
                  <c:v>942</c:v>
                </c:pt>
                <c:pt idx="200">
                  <c:v>936</c:v>
                </c:pt>
                <c:pt idx="201">
                  <c:v>931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5">
                  <c:v>909</c:v>
                </c:pt>
                <c:pt idx="206">
                  <c:v>909</c:v>
                </c:pt>
                <c:pt idx="207">
                  <c:v>875</c:v>
                </c:pt>
                <c:pt idx="208">
                  <c:v>860</c:v>
                </c:pt>
                <c:pt idx="209">
                  <c:v>863</c:v>
                </c:pt>
                <c:pt idx="210">
                  <c:v>837</c:v>
                </c:pt>
                <c:pt idx="211">
                  <c:v>810</c:v>
                </c:pt>
                <c:pt idx="212">
                  <c:v>786</c:v>
                </c:pt>
                <c:pt idx="213">
                  <c:v>759</c:v>
                </c:pt>
                <c:pt idx="214">
                  <c:v>722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3</c:v>
                </c:pt>
                <c:pt idx="251">
                  <c:v>186</c:v>
                </c:pt>
                <c:pt idx="252">
                  <c:v>164</c:v>
                </c:pt>
                <c:pt idx="253">
                  <c:v>154</c:v>
                </c:pt>
                <c:pt idx="254">
                  <c:v>153</c:v>
                </c:pt>
                <c:pt idx="255">
                  <c:v>139</c:v>
                </c:pt>
                <c:pt idx="256">
                  <c:v>123</c:v>
                </c:pt>
                <c:pt idx="257">
                  <c:v>123</c:v>
                </c:pt>
                <c:pt idx="258">
                  <c:v>114</c:v>
                </c:pt>
                <c:pt idx="259">
                  <c:v>109</c:v>
                </c:pt>
                <c:pt idx="260">
                  <c:v>101</c:v>
                </c:pt>
                <c:pt idx="261">
                  <c:v>91</c:v>
                </c:pt>
                <c:pt idx="262">
                  <c:v>75</c:v>
                </c:pt>
                <c:pt idx="263">
                  <c:v>70</c:v>
                </c:pt>
                <c:pt idx="264">
                  <c:v>67</c:v>
                </c:pt>
                <c:pt idx="265">
                  <c:v>65</c:v>
                </c:pt>
                <c:pt idx="266">
                  <c:v>61</c:v>
                </c:pt>
                <c:pt idx="267">
                  <c:v>63</c:v>
                </c:pt>
                <c:pt idx="268">
                  <c:v>58</c:v>
                </c:pt>
                <c:pt idx="269">
                  <c:v>53</c:v>
                </c:pt>
                <c:pt idx="270">
                  <c:v>42</c:v>
                </c:pt>
                <c:pt idx="271">
                  <c:v>42</c:v>
                </c:pt>
                <c:pt idx="272">
                  <c:v>45</c:v>
                </c:pt>
                <c:pt idx="273">
                  <c:v>40</c:v>
                </c:pt>
                <c:pt idx="274">
                  <c:v>37</c:v>
                </c:pt>
                <c:pt idx="275">
                  <c:v>33</c:v>
                </c:pt>
                <c:pt idx="276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7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8</c:f>
              <c:numCache>
                <c:formatCode>m/d/yyyy</c:formatCode>
                <c:ptCount val="27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</c:numCache>
            </c:numRef>
          </c:cat>
          <c:val>
            <c:numRef>
              <c:f>Sheet1!$B$2:$B$278</c:f>
              <c:numCache>
                <c:formatCode>#,##0</c:formatCode>
                <c:ptCount val="277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5">
                  <c:v>38</c:v>
                </c:pt>
                <c:pt idx="206">
                  <c:v>325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  <c:pt idx="266">
                  <c:v>700</c:v>
                </c:pt>
                <c:pt idx="267">
                  <c:v>665</c:v>
                </c:pt>
                <c:pt idx="268">
                  <c:v>678</c:v>
                </c:pt>
                <c:pt idx="269">
                  <c:v>668</c:v>
                </c:pt>
                <c:pt idx="270">
                  <c:v>659</c:v>
                </c:pt>
                <c:pt idx="271">
                  <c:v>665</c:v>
                </c:pt>
                <c:pt idx="272">
                  <c:v>684</c:v>
                </c:pt>
                <c:pt idx="273">
                  <c:v>689</c:v>
                </c:pt>
                <c:pt idx="274">
                  <c:v>668</c:v>
                </c:pt>
                <c:pt idx="275">
                  <c:v>672</c:v>
                </c:pt>
                <c:pt idx="276">
                  <c:v>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8</c:f>
              <c:numCache>
                <c:formatCode>m/d/yyyy</c:formatCode>
                <c:ptCount val="27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</c:numCache>
            </c:numRef>
          </c:cat>
          <c:val>
            <c:numRef>
              <c:f>Sheet1!$C$2:$C$278</c:f>
              <c:numCache>
                <c:formatCode>#,##0</c:formatCode>
                <c:ptCount val="27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8</c:f>
              <c:numCache>
                <c:formatCode>m/d/yyyy</c:formatCode>
                <c:ptCount val="27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</c:numCache>
            </c:numRef>
          </c:cat>
          <c:val>
            <c:numRef>
              <c:f>Sheet1!$D$2:$D$278</c:f>
              <c:numCache>
                <c:formatCode>#,##0</c:formatCode>
                <c:ptCount val="277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7</c:v>
                </c:pt>
                <c:pt idx="56">
                  <c:v>2973</c:v>
                </c:pt>
                <c:pt idx="57">
                  <c:v>3036</c:v>
                </c:pt>
                <c:pt idx="58">
                  <c:v>3252</c:v>
                </c:pt>
                <c:pt idx="59">
                  <c:v>3299</c:v>
                </c:pt>
                <c:pt idx="60">
                  <c:v>3361</c:v>
                </c:pt>
                <c:pt idx="61">
                  <c:v>3444</c:v>
                </c:pt>
                <c:pt idx="62">
                  <c:v>3562</c:v>
                </c:pt>
                <c:pt idx="63">
                  <c:v>3582</c:v>
                </c:pt>
                <c:pt idx="64">
                  <c:v>3558</c:v>
                </c:pt>
                <c:pt idx="65">
                  <c:v>3486</c:v>
                </c:pt>
                <c:pt idx="66">
                  <c:v>3425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6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6</c:v>
                </c:pt>
                <c:pt idx="133">
                  <c:v>3044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0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6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7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1</c:v>
                </c:pt>
                <c:pt idx="198">
                  <c:v>3994</c:v>
                </c:pt>
                <c:pt idx="199">
                  <c:v>3790</c:v>
                </c:pt>
                <c:pt idx="200">
                  <c:v>3716</c:v>
                </c:pt>
                <c:pt idx="201">
                  <c:v>3793</c:v>
                </c:pt>
                <c:pt idx="202">
                  <c:v>3809</c:v>
                </c:pt>
                <c:pt idx="203">
                  <c:v>3677</c:v>
                </c:pt>
                <c:pt idx="204">
                  <c:v>3534</c:v>
                </c:pt>
                <c:pt idx="205">
                  <c:v>3465</c:v>
                </c:pt>
                <c:pt idx="206">
                  <c:v>3325</c:v>
                </c:pt>
                <c:pt idx="207">
                  <c:v>3352</c:v>
                </c:pt>
                <c:pt idx="208">
                  <c:v>3380</c:v>
                </c:pt>
                <c:pt idx="209">
                  <c:v>3354</c:v>
                </c:pt>
                <c:pt idx="210">
                  <c:v>3278</c:v>
                </c:pt>
                <c:pt idx="211">
                  <c:v>3143</c:v>
                </c:pt>
                <c:pt idx="212">
                  <c:v>2994</c:v>
                </c:pt>
                <c:pt idx="213">
                  <c:v>2810</c:v>
                </c:pt>
                <c:pt idx="214">
                  <c:v>2767</c:v>
                </c:pt>
                <c:pt idx="215">
                  <c:v>2828</c:v>
                </c:pt>
                <c:pt idx="216">
                  <c:v>2841</c:v>
                </c:pt>
                <c:pt idx="217">
                  <c:v>3039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30</c:v>
                </c:pt>
                <c:pt idx="224">
                  <c:v>2233</c:v>
                </c:pt>
                <c:pt idx="225">
                  <c:v>2102</c:v>
                </c:pt>
                <c:pt idx="226">
                  <c:v>1925</c:v>
                </c:pt>
                <c:pt idx="227">
                  <c:v>1778</c:v>
                </c:pt>
                <c:pt idx="228">
                  <c:v>1746</c:v>
                </c:pt>
                <c:pt idx="229">
                  <c:v>1753</c:v>
                </c:pt>
                <c:pt idx="230">
                  <c:v>1808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0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2</c:v>
                </c:pt>
                <c:pt idx="241">
                  <c:v>1125</c:v>
                </c:pt>
                <c:pt idx="242">
                  <c:v>1129</c:v>
                </c:pt>
                <c:pt idx="243">
                  <c:v>1121</c:v>
                </c:pt>
                <c:pt idx="244">
                  <c:v>1116</c:v>
                </c:pt>
                <c:pt idx="245">
                  <c:v>1051</c:v>
                </c:pt>
                <c:pt idx="246">
                  <c:v>989</c:v>
                </c:pt>
                <c:pt idx="247">
                  <c:v>918</c:v>
                </c:pt>
                <c:pt idx="248">
                  <c:v>854</c:v>
                </c:pt>
                <c:pt idx="249">
                  <c:v>811</c:v>
                </c:pt>
                <c:pt idx="250">
                  <c:v>813</c:v>
                </c:pt>
                <c:pt idx="251">
                  <c:v>774</c:v>
                </c:pt>
                <c:pt idx="252">
                  <c:v>725</c:v>
                </c:pt>
                <c:pt idx="253">
                  <c:v>654</c:v>
                </c:pt>
                <c:pt idx="254">
                  <c:v>634</c:v>
                </c:pt>
                <c:pt idx="255">
                  <c:v>613</c:v>
                </c:pt>
                <c:pt idx="256">
                  <c:v>551</c:v>
                </c:pt>
                <c:pt idx="257">
                  <c:v>548</c:v>
                </c:pt>
                <c:pt idx="258">
                  <c:v>521</c:v>
                </c:pt>
                <c:pt idx="259">
                  <c:v>469</c:v>
                </c:pt>
                <c:pt idx="260">
                  <c:v>432</c:v>
                </c:pt>
                <c:pt idx="261">
                  <c:v>404</c:v>
                </c:pt>
                <c:pt idx="262">
                  <c:v>393</c:v>
                </c:pt>
                <c:pt idx="263">
                  <c:v>374</c:v>
                </c:pt>
                <c:pt idx="264">
                  <c:v>362</c:v>
                </c:pt>
                <c:pt idx="265">
                  <c:v>320</c:v>
                </c:pt>
                <c:pt idx="266">
                  <c:v>308</c:v>
                </c:pt>
                <c:pt idx="267">
                  <c:v>292</c:v>
                </c:pt>
                <c:pt idx="268">
                  <c:v>264</c:v>
                </c:pt>
                <c:pt idx="269">
                  <c:v>237</c:v>
                </c:pt>
                <c:pt idx="270">
                  <c:v>200</c:v>
                </c:pt>
                <c:pt idx="271">
                  <c:v>196</c:v>
                </c:pt>
                <c:pt idx="272">
                  <c:v>182</c:v>
                </c:pt>
                <c:pt idx="273">
                  <c:v>160</c:v>
                </c:pt>
                <c:pt idx="274">
                  <c:v>139</c:v>
                </c:pt>
                <c:pt idx="275">
                  <c:v>125</c:v>
                </c:pt>
                <c:pt idx="276">
                  <c:v>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7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8</c:f>
              <c:numCache>
                <c:formatCode>m/d/yyyy</c:formatCode>
                <c:ptCount val="27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</c:numCache>
            </c:numRef>
          </c:cat>
          <c:val>
            <c:numRef>
              <c:f>Sheet1!$B$2:$B$278</c:f>
              <c:numCache>
                <c:formatCode>#,##0</c:formatCode>
                <c:ptCount val="277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5">
                  <c:v>454</c:v>
                </c:pt>
                <c:pt idx="206">
                  <c:v>4946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  <c:pt idx="266">
                  <c:v>6373</c:v>
                </c:pt>
                <c:pt idx="267">
                  <c:v>6326</c:v>
                </c:pt>
                <c:pt idx="268">
                  <c:v>6311</c:v>
                </c:pt>
                <c:pt idx="269">
                  <c:v>6527</c:v>
                </c:pt>
                <c:pt idx="270">
                  <c:v>6590</c:v>
                </c:pt>
                <c:pt idx="271">
                  <c:v>6586</c:v>
                </c:pt>
                <c:pt idx="272">
                  <c:v>6501</c:v>
                </c:pt>
                <c:pt idx="273">
                  <c:v>6337</c:v>
                </c:pt>
                <c:pt idx="274">
                  <c:v>6334</c:v>
                </c:pt>
                <c:pt idx="275">
                  <c:v>6310</c:v>
                </c:pt>
                <c:pt idx="276">
                  <c:v>65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8</c:f>
              <c:numCache>
                <c:formatCode>m/d/yyyy</c:formatCode>
                <c:ptCount val="27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</c:numCache>
            </c:numRef>
          </c:cat>
          <c:val>
            <c:numRef>
              <c:f>Sheet1!$C$2:$C$278</c:f>
              <c:numCache>
                <c:formatCode>#,##0</c:formatCode>
                <c:ptCount val="27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8</c:f>
              <c:numCache>
                <c:formatCode>m/d/yyyy</c:formatCode>
                <c:ptCount val="27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</c:numCache>
            </c:numRef>
          </c:cat>
          <c:val>
            <c:numRef>
              <c:f>Sheet1!$D$2:$D$278</c:f>
              <c:numCache>
                <c:formatCode>#,##0</c:formatCode>
                <c:ptCount val="27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2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36</c:v>
                </c:pt>
                <c:pt idx="197">
                  <c:v>35</c:v>
                </c:pt>
                <c:pt idx="198">
                  <c:v>33</c:v>
                </c:pt>
                <c:pt idx="199">
                  <c:v>34</c:v>
                </c:pt>
                <c:pt idx="200">
                  <c:v>28</c:v>
                </c:pt>
                <c:pt idx="201">
                  <c:v>29</c:v>
                </c:pt>
                <c:pt idx="202">
                  <c:v>27</c:v>
                </c:pt>
                <c:pt idx="203">
                  <c:v>25</c:v>
                </c:pt>
                <c:pt idx="204">
                  <c:v>21</c:v>
                </c:pt>
                <c:pt idx="205">
                  <c:v>25</c:v>
                </c:pt>
                <c:pt idx="206">
                  <c:v>28</c:v>
                </c:pt>
                <c:pt idx="207">
                  <c:v>28</c:v>
                </c:pt>
                <c:pt idx="208">
                  <c:v>26</c:v>
                </c:pt>
                <c:pt idx="209">
                  <c:v>28</c:v>
                </c:pt>
                <c:pt idx="210">
                  <c:v>28</c:v>
                </c:pt>
                <c:pt idx="211">
                  <c:v>25</c:v>
                </c:pt>
                <c:pt idx="212">
                  <c:v>24</c:v>
                </c:pt>
                <c:pt idx="213">
                  <c:v>28</c:v>
                </c:pt>
                <c:pt idx="214">
                  <c:v>28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4</c:v>
                </c:pt>
                <c:pt idx="266">
                  <c:v>4</c:v>
                </c:pt>
                <c:pt idx="267">
                  <c:v>3</c:v>
                </c:pt>
                <c:pt idx="268">
                  <c:v>3</c:v>
                </c:pt>
                <c:pt idx="269">
                  <c:v>3</c:v>
                </c:pt>
                <c:pt idx="270">
                  <c:v>4</c:v>
                </c:pt>
                <c:pt idx="271">
                  <c:v>4</c:v>
                </c:pt>
                <c:pt idx="272">
                  <c:v>4</c:v>
                </c:pt>
                <c:pt idx="273">
                  <c:v>3</c:v>
                </c:pt>
                <c:pt idx="274">
                  <c:v>3</c:v>
                </c:pt>
                <c:pt idx="275">
                  <c:v>3</c:v>
                </c:pt>
                <c:pt idx="27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7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8</c:f>
              <c:numCache>
                <c:formatCode>m/d/yyyy</c:formatCode>
                <c:ptCount val="27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</c:numCache>
            </c:numRef>
          </c:cat>
          <c:val>
            <c:numRef>
              <c:f>Sheet1!$B$2:$B$278</c:f>
              <c:numCache>
                <c:formatCode>#,##0</c:formatCode>
                <c:ptCount val="277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5">
                  <c:v>3</c:v>
                </c:pt>
                <c:pt idx="206">
                  <c:v>22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  <c:pt idx="266">
                  <c:v>63</c:v>
                </c:pt>
                <c:pt idx="267">
                  <c:v>63</c:v>
                </c:pt>
                <c:pt idx="268">
                  <c:v>63</c:v>
                </c:pt>
                <c:pt idx="269">
                  <c:v>61</c:v>
                </c:pt>
                <c:pt idx="270">
                  <c:v>61</c:v>
                </c:pt>
                <c:pt idx="271">
                  <c:v>61</c:v>
                </c:pt>
                <c:pt idx="272">
                  <c:v>62</c:v>
                </c:pt>
                <c:pt idx="273">
                  <c:v>62</c:v>
                </c:pt>
                <c:pt idx="274">
                  <c:v>62</c:v>
                </c:pt>
                <c:pt idx="275">
                  <c:v>62</c:v>
                </c:pt>
                <c:pt idx="276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8</c:f>
              <c:numCache>
                <c:formatCode>m/d/yyyy</c:formatCode>
                <c:ptCount val="27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</c:numCache>
            </c:numRef>
          </c:cat>
          <c:val>
            <c:numRef>
              <c:f>Sheet1!$C$2:$C$278</c:f>
              <c:numCache>
                <c:formatCode>#,##0</c:formatCode>
                <c:ptCount val="27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8</c:f>
              <c:numCache>
                <c:formatCode>m/d/yyyy</c:formatCode>
                <c:ptCount val="27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</c:numCache>
            </c:numRef>
          </c:cat>
          <c:val>
            <c:numRef>
              <c:f>Sheet1!$D$2:$D$278</c:f>
              <c:numCache>
                <c:formatCode>#,##0</c:formatCode>
                <c:ptCount val="277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8</c:v>
                </c:pt>
                <c:pt idx="133">
                  <c:v>1174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0</c:v>
                </c:pt>
                <c:pt idx="152">
                  <c:v>1038</c:v>
                </c:pt>
                <c:pt idx="153">
                  <c:v>1077</c:v>
                </c:pt>
                <c:pt idx="154">
                  <c:v>1088</c:v>
                </c:pt>
                <c:pt idx="155">
                  <c:v>1074</c:v>
                </c:pt>
                <c:pt idx="156">
                  <c:v>1100</c:v>
                </c:pt>
                <c:pt idx="157">
                  <c:v>1086</c:v>
                </c:pt>
                <c:pt idx="158">
                  <c:v>1070</c:v>
                </c:pt>
                <c:pt idx="159">
                  <c:v>1098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09</c:v>
                </c:pt>
                <c:pt idx="165">
                  <c:v>1103</c:v>
                </c:pt>
                <c:pt idx="166">
                  <c:v>1144</c:v>
                </c:pt>
                <c:pt idx="167">
                  <c:v>1168</c:v>
                </c:pt>
                <c:pt idx="168">
                  <c:v>1211</c:v>
                </c:pt>
                <c:pt idx="169">
                  <c:v>1239</c:v>
                </c:pt>
                <c:pt idx="170">
                  <c:v>1265</c:v>
                </c:pt>
                <c:pt idx="171">
                  <c:v>1268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7</c:v>
                </c:pt>
                <c:pt idx="193">
                  <c:v>1777</c:v>
                </c:pt>
                <c:pt idx="194">
                  <c:v>1824</c:v>
                </c:pt>
                <c:pt idx="195">
                  <c:v>1882</c:v>
                </c:pt>
                <c:pt idx="196">
                  <c:v>1891</c:v>
                </c:pt>
                <c:pt idx="197">
                  <c:v>1858</c:v>
                </c:pt>
                <c:pt idx="198">
                  <c:v>1858</c:v>
                </c:pt>
                <c:pt idx="199">
                  <c:v>1816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2</c:v>
                </c:pt>
                <c:pt idx="204">
                  <c:v>1740</c:v>
                </c:pt>
                <c:pt idx="205">
                  <c:v>1739</c:v>
                </c:pt>
                <c:pt idx="206">
                  <c:v>1674</c:v>
                </c:pt>
                <c:pt idx="207">
                  <c:v>1639</c:v>
                </c:pt>
                <c:pt idx="208">
                  <c:v>1649</c:v>
                </c:pt>
                <c:pt idx="209">
                  <c:v>1659</c:v>
                </c:pt>
                <c:pt idx="210">
                  <c:v>1610</c:v>
                </c:pt>
                <c:pt idx="211">
                  <c:v>1550</c:v>
                </c:pt>
                <c:pt idx="212">
                  <c:v>1501</c:v>
                </c:pt>
                <c:pt idx="213">
                  <c:v>1420</c:v>
                </c:pt>
                <c:pt idx="214">
                  <c:v>1397</c:v>
                </c:pt>
                <c:pt idx="215">
                  <c:v>1378</c:v>
                </c:pt>
                <c:pt idx="216">
                  <c:v>1344</c:v>
                </c:pt>
                <c:pt idx="217">
                  <c:v>1392</c:v>
                </c:pt>
                <c:pt idx="218">
                  <c:v>1358</c:v>
                </c:pt>
                <c:pt idx="219">
                  <c:v>1312</c:v>
                </c:pt>
                <c:pt idx="220">
                  <c:v>1232</c:v>
                </c:pt>
                <c:pt idx="221">
                  <c:v>1213</c:v>
                </c:pt>
                <c:pt idx="222">
                  <c:v>1195</c:v>
                </c:pt>
                <c:pt idx="223">
                  <c:v>1182</c:v>
                </c:pt>
                <c:pt idx="224">
                  <c:v>1154</c:v>
                </c:pt>
                <c:pt idx="225">
                  <c:v>1110</c:v>
                </c:pt>
                <c:pt idx="226">
                  <c:v>1033</c:v>
                </c:pt>
                <c:pt idx="227">
                  <c:v>1010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1</c:v>
                </c:pt>
                <c:pt idx="232">
                  <c:v>906</c:v>
                </c:pt>
                <c:pt idx="233">
                  <c:v>831</c:v>
                </c:pt>
                <c:pt idx="234">
                  <c:v>784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09</c:v>
                </c:pt>
                <c:pt idx="239">
                  <c:v>683</c:v>
                </c:pt>
                <c:pt idx="240">
                  <c:v>634</c:v>
                </c:pt>
                <c:pt idx="241">
                  <c:v>576</c:v>
                </c:pt>
                <c:pt idx="242">
                  <c:v>551</c:v>
                </c:pt>
                <c:pt idx="243">
                  <c:v>557</c:v>
                </c:pt>
                <c:pt idx="244">
                  <c:v>563</c:v>
                </c:pt>
                <c:pt idx="245">
                  <c:v>542</c:v>
                </c:pt>
                <c:pt idx="246">
                  <c:v>499</c:v>
                </c:pt>
                <c:pt idx="247">
                  <c:v>464</c:v>
                </c:pt>
                <c:pt idx="248">
                  <c:v>441</c:v>
                </c:pt>
                <c:pt idx="249">
                  <c:v>413</c:v>
                </c:pt>
                <c:pt idx="250">
                  <c:v>419</c:v>
                </c:pt>
                <c:pt idx="251">
                  <c:v>425</c:v>
                </c:pt>
                <c:pt idx="252">
                  <c:v>402</c:v>
                </c:pt>
                <c:pt idx="253">
                  <c:v>377</c:v>
                </c:pt>
                <c:pt idx="254">
                  <c:v>367</c:v>
                </c:pt>
                <c:pt idx="255">
                  <c:v>340</c:v>
                </c:pt>
                <c:pt idx="256">
                  <c:v>307</c:v>
                </c:pt>
                <c:pt idx="257">
                  <c:v>302</c:v>
                </c:pt>
                <c:pt idx="258">
                  <c:v>294</c:v>
                </c:pt>
                <c:pt idx="259">
                  <c:v>278</c:v>
                </c:pt>
                <c:pt idx="260">
                  <c:v>249</c:v>
                </c:pt>
                <c:pt idx="261">
                  <c:v>217</c:v>
                </c:pt>
                <c:pt idx="262">
                  <c:v>190</c:v>
                </c:pt>
                <c:pt idx="263">
                  <c:v>188</c:v>
                </c:pt>
                <c:pt idx="264">
                  <c:v>186</c:v>
                </c:pt>
                <c:pt idx="265">
                  <c:v>181</c:v>
                </c:pt>
                <c:pt idx="266">
                  <c:v>161</c:v>
                </c:pt>
                <c:pt idx="267">
                  <c:v>154</c:v>
                </c:pt>
                <c:pt idx="268">
                  <c:v>143</c:v>
                </c:pt>
                <c:pt idx="269">
                  <c:v>126</c:v>
                </c:pt>
                <c:pt idx="270">
                  <c:v>109</c:v>
                </c:pt>
                <c:pt idx="271">
                  <c:v>111</c:v>
                </c:pt>
                <c:pt idx="272">
                  <c:v>116</c:v>
                </c:pt>
                <c:pt idx="273">
                  <c:v>95</c:v>
                </c:pt>
                <c:pt idx="274">
                  <c:v>87</c:v>
                </c:pt>
                <c:pt idx="275">
                  <c:v>84</c:v>
                </c:pt>
                <c:pt idx="276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7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8</c:f>
              <c:numCache>
                <c:formatCode>m/d/yyyy</c:formatCode>
                <c:ptCount val="27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</c:numCache>
            </c:numRef>
          </c:cat>
          <c:val>
            <c:numRef>
              <c:f>Sheet1!$B$2:$B$278</c:f>
              <c:numCache>
                <c:formatCode>#,##0</c:formatCode>
                <c:ptCount val="277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5">
                  <c:v>84</c:v>
                </c:pt>
                <c:pt idx="206">
                  <c:v>958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  <c:pt idx="266">
                  <c:v>1664</c:v>
                </c:pt>
                <c:pt idx="267">
                  <c:v>1667</c:v>
                </c:pt>
                <c:pt idx="268">
                  <c:v>1682</c:v>
                </c:pt>
                <c:pt idx="269">
                  <c:v>1629</c:v>
                </c:pt>
                <c:pt idx="270">
                  <c:v>1614</c:v>
                </c:pt>
                <c:pt idx="271">
                  <c:v>1622</c:v>
                </c:pt>
                <c:pt idx="272">
                  <c:v>1640</c:v>
                </c:pt>
                <c:pt idx="273">
                  <c:v>1645</c:v>
                </c:pt>
                <c:pt idx="274">
                  <c:v>1628</c:v>
                </c:pt>
                <c:pt idx="275">
                  <c:v>1638</c:v>
                </c:pt>
                <c:pt idx="276">
                  <c:v>16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8</c:f>
              <c:numCache>
                <c:formatCode>m/d/yyyy</c:formatCode>
                <c:ptCount val="27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</c:numCache>
            </c:numRef>
          </c:cat>
          <c:val>
            <c:numRef>
              <c:f>Sheet1!$C$2:$C$278</c:f>
              <c:numCache>
                <c:formatCode>#,##0</c:formatCode>
                <c:ptCount val="27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5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05.06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78596342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52533379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77140824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669090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03436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09273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71</TotalTime>
  <Words>1037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echová Anna Mgr.</cp:lastModifiedBy>
  <cp:revision>693</cp:revision>
  <dcterms:created xsi:type="dcterms:W3CDTF">2020-08-08T14:25:07Z</dcterms:created>
  <dcterms:modified xsi:type="dcterms:W3CDTF">2021-06-05T02:54:20Z</dcterms:modified>
</cp:coreProperties>
</file>